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charts/chart328.xml" ContentType="application/vnd.openxmlformats-officedocument.drawingml.chart+xml"/>
  <Override PartName="/ppt/charts/chart329.xml" ContentType="application/vnd.openxmlformats-officedocument.drawingml.chart+xml"/>
  <Override PartName="/ppt/charts/chart33.xml" ContentType="application/vnd.openxmlformats-officedocument.drawingml.chart+xml"/>
  <Override PartName="/ppt/charts/chart330.xml" ContentType="application/vnd.openxmlformats-officedocument.drawingml.chart+xml"/>
  <Override PartName="/ppt/charts/chart331.xml" ContentType="application/vnd.openxmlformats-officedocument.drawingml.chart+xml"/>
  <Override PartName="/ppt/charts/chart332.xml" ContentType="application/vnd.openxmlformats-officedocument.drawingml.chart+xml"/>
  <Override PartName="/ppt/charts/chart333.xml" ContentType="application/vnd.openxmlformats-officedocument.drawingml.chart+xml"/>
  <Override PartName="/ppt/charts/chart334.xml" ContentType="application/vnd.openxmlformats-officedocument.drawingml.chart+xml"/>
  <Override PartName="/ppt/charts/chart335.xml" ContentType="application/vnd.openxmlformats-officedocument.drawingml.chart+xml"/>
  <Override PartName="/ppt/charts/chart336.xml" ContentType="application/vnd.openxmlformats-officedocument.drawingml.chart+xml"/>
  <Override PartName="/ppt/charts/chart337.xml" ContentType="application/vnd.openxmlformats-officedocument.drawingml.chart+xml"/>
  <Override PartName="/ppt/charts/chart338.xml" ContentType="application/vnd.openxmlformats-officedocument.drawingml.chart+xml"/>
  <Override PartName="/ppt/charts/chart339.xml" ContentType="application/vnd.openxmlformats-officedocument.drawingml.chart+xml"/>
  <Override PartName="/ppt/charts/chart34.xml" ContentType="application/vnd.openxmlformats-officedocument.drawingml.chart+xml"/>
  <Override PartName="/ppt/charts/chart340.xml" ContentType="application/vnd.openxmlformats-officedocument.drawingml.chart+xml"/>
  <Override PartName="/ppt/charts/chart341.xml" ContentType="application/vnd.openxmlformats-officedocument.drawingml.chart+xml"/>
  <Override PartName="/ppt/charts/chart342.xml" ContentType="application/vnd.openxmlformats-officedocument.drawingml.chart+xml"/>
  <Override PartName="/ppt/charts/chart343.xml" ContentType="application/vnd.openxmlformats-officedocument.drawingml.chart+xml"/>
  <Override PartName="/ppt/charts/chart344.xml" ContentType="application/vnd.openxmlformats-officedocument.drawingml.chart+xml"/>
  <Override PartName="/ppt/charts/chart345.xml" ContentType="application/vnd.openxmlformats-officedocument.drawingml.chart+xml"/>
  <Override PartName="/ppt/charts/chart346.xml" ContentType="application/vnd.openxmlformats-officedocument.drawingml.chart+xml"/>
  <Override PartName="/ppt/charts/chart347.xml" ContentType="application/vnd.openxmlformats-officedocument.drawingml.chart+xml"/>
  <Override PartName="/ppt/charts/chart348.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4"/>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id="{7ED8DC36-8645-4312-B450-A1CEFF3A1730}">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notesMaster" Target="notesMasters/notesMaster1.xml"/><Relationship Id="rId35" Type="http://schemas.openxmlformats.org/officeDocument/2006/relationships/presProps" Target="presProps.xml"/><Relationship Id="rId36" Type="http://schemas.openxmlformats.org/officeDocument/2006/relationships/viewProps" Target="viewProps.xml"/><Relationship Id="rId37" Type="http://schemas.openxmlformats.org/officeDocument/2006/relationships/theme" Target="theme/theme1.xml"/><Relationship Id="rId38" Type="http://schemas.openxmlformats.org/officeDocument/2006/relationships/tableStyles" Target="tableStyles.xml"/><Relationship Id="rId39" Type="http://schemas.microsoft.com/office/2015/10/relationships/revisionInfo" Target="revisionInfo.xml"/><Relationship Id="rId40"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28.xml.rels><?xml version='1.0' encoding='UTF-8' standalone='yes'?>
<Relationships xmlns="http://schemas.openxmlformats.org/package/2006/relationships"><Relationship Id="rId1" Type="http://schemas.openxmlformats.org/officeDocument/2006/relationships/package" Target="../embeddings/Microsoft_Excel_Worksheet327.xlsx"/></Relationships>
</file>

<file path=ppt/charts/_rels/chart329.xml.rels><?xml version='1.0' encoding='UTF-8' standalone='yes'?>
<Relationships xmlns="http://schemas.openxmlformats.org/package/2006/relationships"><Relationship Id="rId1" Type="http://schemas.openxmlformats.org/officeDocument/2006/relationships/package" Target="../embeddings/Microsoft_Excel_Worksheet328.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0.xml.rels><?xml version='1.0' encoding='UTF-8' standalone='yes'?>
<Relationships xmlns="http://schemas.openxmlformats.org/package/2006/relationships"><Relationship Id="rId1" Type="http://schemas.openxmlformats.org/officeDocument/2006/relationships/package" Target="../embeddings/Microsoft_Excel_Worksheet329.xlsx"/></Relationships>
</file>

<file path=ppt/charts/_rels/chart331.xml.rels><?xml version='1.0' encoding='UTF-8' standalone='yes'?>
<Relationships xmlns="http://schemas.openxmlformats.org/package/2006/relationships"><Relationship Id="rId1" Type="http://schemas.openxmlformats.org/officeDocument/2006/relationships/package" Target="../embeddings/Microsoft_Excel_Worksheet330.xlsx"/></Relationships>
</file>

<file path=ppt/charts/_rels/chart332.xml.rels><?xml version='1.0' encoding='UTF-8' standalone='yes'?>
<Relationships xmlns="http://schemas.openxmlformats.org/package/2006/relationships"><Relationship Id="rId1" Type="http://schemas.openxmlformats.org/officeDocument/2006/relationships/package" Target="../embeddings/Microsoft_Excel_Worksheet331.xlsx"/></Relationships>
</file>

<file path=ppt/charts/_rels/chart333.xml.rels><?xml version='1.0' encoding='UTF-8' standalone='yes'?>
<Relationships xmlns="http://schemas.openxmlformats.org/package/2006/relationships"><Relationship Id="rId1" Type="http://schemas.openxmlformats.org/officeDocument/2006/relationships/package" Target="../embeddings/Microsoft_Excel_Worksheet332.xlsx"/></Relationships>
</file>

<file path=ppt/charts/_rels/chart334.xml.rels><?xml version='1.0' encoding='UTF-8' standalone='yes'?>
<Relationships xmlns="http://schemas.openxmlformats.org/package/2006/relationships"><Relationship Id="rId1" Type="http://schemas.openxmlformats.org/officeDocument/2006/relationships/package" Target="../embeddings/Microsoft_Excel_Worksheet333.xlsx"/></Relationships>
</file>

<file path=ppt/charts/_rels/chart335.xml.rels><?xml version='1.0' encoding='UTF-8' standalone='yes'?>
<Relationships xmlns="http://schemas.openxmlformats.org/package/2006/relationships"><Relationship Id="rId1" Type="http://schemas.openxmlformats.org/officeDocument/2006/relationships/package" Target="../embeddings/Microsoft_Excel_Worksheet334.xlsx"/></Relationships>
</file>

<file path=ppt/charts/_rels/chart336.xml.rels><?xml version='1.0' encoding='UTF-8' standalone='yes'?>
<Relationships xmlns="http://schemas.openxmlformats.org/package/2006/relationships"><Relationship Id="rId1" Type="http://schemas.openxmlformats.org/officeDocument/2006/relationships/package" Target="../embeddings/Microsoft_Excel_Worksheet335.xlsx"/></Relationships>
</file>

<file path=ppt/charts/_rels/chart337.xml.rels><?xml version='1.0' encoding='UTF-8' standalone='yes'?>
<Relationships xmlns="http://schemas.openxmlformats.org/package/2006/relationships"><Relationship Id="rId1" Type="http://schemas.openxmlformats.org/officeDocument/2006/relationships/package" Target="../embeddings/Microsoft_Excel_Worksheet336.xlsx"/></Relationships>
</file>

<file path=ppt/charts/_rels/chart338.xml.rels><?xml version='1.0' encoding='UTF-8' standalone='yes'?>
<Relationships xmlns="http://schemas.openxmlformats.org/package/2006/relationships"><Relationship Id="rId1" Type="http://schemas.openxmlformats.org/officeDocument/2006/relationships/package" Target="../embeddings/Microsoft_Excel_Worksheet337.xlsx"/></Relationships>
</file>

<file path=ppt/charts/_rels/chart339.xml.rels><?xml version='1.0' encoding='UTF-8' standalone='yes'?>
<Relationships xmlns="http://schemas.openxmlformats.org/package/2006/relationships"><Relationship Id="rId1" Type="http://schemas.openxmlformats.org/officeDocument/2006/relationships/package" Target="../embeddings/Microsoft_Excel_Worksheet33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0.xml.rels><?xml version='1.0' encoding='UTF-8' standalone='yes'?>
<Relationships xmlns="http://schemas.openxmlformats.org/package/2006/relationships"><Relationship Id="rId1" Type="http://schemas.openxmlformats.org/officeDocument/2006/relationships/package" Target="../embeddings/Microsoft_Excel_Worksheet339.xlsx"/></Relationships>
</file>

<file path=ppt/charts/_rels/chart341.xml.rels><?xml version='1.0' encoding='UTF-8' standalone='yes'?>
<Relationships xmlns="http://schemas.openxmlformats.org/package/2006/relationships"><Relationship Id="rId1" Type="http://schemas.openxmlformats.org/officeDocument/2006/relationships/package" Target="../embeddings/Microsoft_Excel_Worksheet340.xlsx"/></Relationships>
</file>

<file path=ppt/charts/_rels/chart342.xml.rels><?xml version='1.0' encoding='UTF-8' standalone='yes'?>
<Relationships xmlns="http://schemas.openxmlformats.org/package/2006/relationships"><Relationship Id="rId1" Type="http://schemas.openxmlformats.org/officeDocument/2006/relationships/package" Target="../embeddings/Microsoft_Excel_Worksheet341.xlsx"/></Relationships>
</file>

<file path=ppt/charts/_rels/chart343.xml.rels><?xml version='1.0' encoding='UTF-8' standalone='yes'?>
<Relationships xmlns="http://schemas.openxmlformats.org/package/2006/relationships"><Relationship Id="rId1" Type="http://schemas.openxmlformats.org/officeDocument/2006/relationships/package" Target="../embeddings/Microsoft_Excel_Worksheet342.xlsx"/></Relationships>
</file>

<file path=ppt/charts/_rels/chart344.xml.rels><?xml version='1.0' encoding='UTF-8' standalone='yes'?>
<Relationships xmlns="http://schemas.openxmlformats.org/package/2006/relationships"><Relationship Id="rId1" Type="http://schemas.openxmlformats.org/officeDocument/2006/relationships/package" Target="../embeddings/Microsoft_Excel_Worksheet343.xlsx"/></Relationships>
</file>

<file path=ppt/charts/_rels/chart345.xml.rels><?xml version='1.0' encoding='UTF-8' standalone='yes'?>
<Relationships xmlns="http://schemas.openxmlformats.org/package/2006/relationships"><Relationship Id="rId1" Type="http://schemas.openxmlformats.org/officeDocument/2006/relationships/package" Target="../embeddings/Microsoft_Excel_Worksheet344.xlsx"/></Relationships>
</file>

<file path=ppt/charts/_rels/chart346.xml.rels><?xml version='1.0' encoding='UTF-8' standalone='yes'?>
<Relationships xmlns="http://schemas.openxmlformats.org/package/2006/relationships"><Relationship Id="rId1" Type="http://schemas.openxmlformats.org/officeDocument/2006/relationships/package" Target="../embeddings/Microsoft_Excel_Worksheet345.xlsx"/></Relationships>
</file>

<file path=ppt/charts/_rels/chart347.xml.rels><?xml version='1.0' encoding='UTF-8' standalone='yes'?>
<Relationships xmlns="http://schemas.openxmlformats.org/package/2006/relationships"><Relationship Id="rId1" Type="http://schemas.openxmlformats.org/officeDocument/2006/relationships/package" Target="../embeddings/Microsoft_Excel_Worksheet346.xlsx"/></Relationships>
</file>

<file path=ppt/charts/_rels/chart348.xml.rels><?xml version='1.0' encoding='UTF-8' standalone='yes'?>
<Relationships xmlns="http://schemas.openxmlformats.org/package/2006/relationships"><Relationship Id="rId1" Type="http://schemas.openxmlformats.org/officeDocument/2006/relationships/package" Target="../embeddings/Microsoft_Excel_Worksheet347.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1.117818841837831e-07</c:v>
                </c:pt>
                <c:pt idx="1">
                  <c:v/>
                </c:pt>
                <c:pt idx="2">
                  <c:v/>
                </c:pt>
                <c:pt idx="3">
                  <c:v/>
                </c:pt>
                <c:pt idx="4">
                  <c:v>0.00803390010976774</c:v>
                </c:pt>
                <c:pt idx="5">
                  <c:v>0.061620168077764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1414545441061343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014145454410613437</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0.0001227519447671679</c:v>
                </c:pt>
                <c:pt idx="4">
                  <c:v>3.697549206976807e-06</c:v>
                </c:pt>
                <c:pt idx="5">
                  <c:v>0.06316816528696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1845076886025688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2006187522339349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020061875223393498</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0.0001227519447671679</c:v>
                </c:pt>
                <c:pt idx="4">
                  <c:v>3.697549206976807e-06</c:v>
                </c:pt>
                <c:pt idx="5">
                  <c:v>0.06316816528696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4199824973697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2.9856549890294866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2.9856549890294866e-05</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1.117818841837831e-07</c:v>
                </c:pt>
                <c:pt idx="1">
                  <c:v/>
                </c:pt>
                <c:pt idx="2">
                  <c:v/>
                </c:pt>
                <c:pt idx="3">
                  <c:v/>
                </c:pt>
                <c:pt idx="4">
                  <c:v>0.00803390010976774</c:v>
                </c:pt>
                <c:pt idx="5">
                  <c:v>0.061620168077764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0.0001227519447671679</c:v>
                </c:pt>
                <c:pt idx="4">
                  <c:v>3.697549206976807e-06</c:v>
                </c:pt>
                <c:pt idx="5">
                  <c:v>0.06316816528696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1845076886025688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218971118739434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02189711187394343</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8.716586900878304e-07</c:v>
                </c:pt>
                <c:pt idx="5">
                  <c:v>0.2016382193496997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0.0001227519447671679</c:v>
                </c:pt>
                <c:pt idx="4">
                  <c:v>3.697549206976807e-06</c:v>
                </c:pt>
                <c:pt idx="5">
                  <c:v>0.06316816528696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4199824973697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956949327069272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09569493270692721</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0.0001227519447671679</c:v>
                </c:pt>
                <c:pt idx="4">
                  <c:v>3.697549206976807e-06</c:v>
                </c:pt>
                <c:pt idx="5">
                  <c:v>0.06316816528696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0.000733400756829008</c:v>
                </c:pt>
                <c:pt idx="5">
                  <c:v>0.0864375014311434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2152259190268123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0.0012662711277150168</c:v>
                </c:pt>
                <c:pt idx="5">
                  <c:v>0.1108587344741232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11085873447412328</c:v>
                </c:pt>
                <c:pt idx="1">
                  <c:v>0.0012662711277150168</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0.0001227519447671679</c:v>
                </c:pt>
                <c:pt idx="4">
                  <c:v>3.697549206976807e-06</c:v>
                </c:pt>
                <c:pt idx="5">
                  <c:v>0.06316816528696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0.000733400756829008</c:v>
                </c:pt>
                <c:pt idx="5">
                  <c:v>0.0864375014311434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0.0013558621545661643</c:v>
                </c:pt>
                <c:pt idx="5">
                  <c:v>0.093832350898946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0938323508989468</c:v>
                </c:pt>
                <c:pt idx="1">
                  <c:v>0.0013558621545661643</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21522591902681237</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0.0001227519447671679</c:v>
                </c:pt>
                <c:pt idx="4">
                  <c:v>3.697549206976807e-06</c:v>
                </c:pt>
                <c:pt idx="5">
                  <c:v>0.06316816528696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0.0002886323863801986</c:v>
                </c:pt>
                <c:pt idx="5">
                  <c:v>0.0109156697110208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0.00037473488960441937</c:v>
                </c:pt>
                <c:pt idx="5">
                  <c:v>0.01423997467493267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014239974674932673</c:v>
                </c:pt>
                <c:pt idx="1">
                  <c:v>0.00037473488960441937</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0.0001227519447671679</c:v>
                </c:pt>
                <c:pt idx="4">
                  <c:v>3.697549206976807e-06</c:v>
                </c:pt>
                <c:pt idx="5">
                  <c:v>0.06316816528696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0.0002886323863801986</c:v>
                </c:pt>
                <c:pt idx="5">
                  <c:v>0.0109156697110208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0.0006288140586293703</c:v>
                </c:pt>
                <c:pt idx="5">
                  <c:v>0.01607670486383379</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01607670486383379</c:v>
                </c:pt>
                <c:pt idx="1">
                  <c:v>0.0006288140586293703</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1.5143223005763156e-07</c:v>
                </c:pt>
                <c:pt idx="5">
                  <c:v>0.2643024754196358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0.0001227519447671679</c:v>
                </c:pt>
                <c:pt idx="4">
                  <c:v>3.697549206976807e-06</c:v>
                </c:pt>
                <c:pt idx="5">
                  <c:v>0.06316816528696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6.8875095034413e-05</c:v>
                </c:pt>
                <c:pt idx="5">
                  <c:v>0.0183474773381567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7.999417785376034e-05</c:v>
                </c:pt>
                <c:pt idx="5">
                  <c:v>0.0273946919498853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02739469194988533</c:v>
                </c:pt>
                <c:pt idx="1">
                  <c:v>7.999417785376034e-05</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0.0001227519447671679</c:v>
                </c:pt>
                <c:pt idx="4">
                  <c:v>3.697549206976807e-06</c:v>
                </c:pt>
                <c:pt idx="5">
                  <c:v>0.06316816528696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1.8469581090176714e-08</c:v>
                </c:pt>
                <c:pt idx="5">
                  <c:v>0.032235929754931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392199276151796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03921992761517964</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0.0001227519447671679</c:v>
                </c:pt>
                <c:pt idx="4">
                  <c:v>3.697549206976807e-06</c:v>
                </c:pt>
                <c:pt idx="5">
                  <c:v>0.06316816528696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1.0631271066540742e-07</c:v>
                </c:pt>
                <c:pt idx="5">
                  <c:v>0.0259088787887163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2990516303180486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029905163031804866</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0.0001227519447671679</c:v>
                </c:pt>
                <c:pt idx="4">
                  <c:v>3.697549206976807e-06</c:v>
                </c:pt>
                <c:pt idx="5">
                  <c:v>0.06316816528696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6.8875095034413e-05</c:v>
                </c:pt>
                <c:pt idx="5">
                  <c:v>0.0183474773381567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0.0001594455959547471</c:v>
                </c:pt>
                <c:pt idx="5">
                  <c:v>0.020253567153306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0202535671533062</c:v>
                </c:pt>
                <c:pt idx="1">
                  <c:v>0.0001594455959547471</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1.117818841837831e-07</c:v>
                </c:pt>
                <c:pt idx="1">
                  <c:v/>
                </c:pt>
                <c:pt idx="2">
                  <c:v/>
                </c:pt>
                <c:pt idx="3">
                  <c:v/>
                </c:pt>
                <c:pt idx="4">
                  <c:v>0.00803390010976774</c:v>
                </c:pt>
                <c:pt idx="5">
                  <c:v>0.061620168077764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0.0001227519447671679</c:v>
                </c:pt>
                <c:pt idx="4">
                  <c:v>3.697549206976807e-06</c:v>
                </c:pt>
                <c:pt idx="5">
                  <c:v>0.06316816528696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1.8469581090176714e-08</c:v>
                </c:pt>
                <c:pt idx="5">
                  <c:v>0.032235929754931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403720563311543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04037205633115434</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1.5143223005763156e-07</c:v>
                </c:pt>
                <c:pt idx="5">
                  <c:v>0.2643024754196358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0.0001227519447671679</c:v>
                </c:pt>
                <c:pt idx="4">
                  <c:v>3.697549206976807e-06</c:v>
                </c:pt>
                <c:pt idx="5">
                  <c:v>0.06316816528696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1.0631271066540742e-07</c:v>
                </c:pt>
                <c:pt idx="5">
                  <c:v>0.0259088787887163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3023279279617345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030232792796173455</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0.0001227519447671679</c:v>
                </c:pt>
                <c:pt idx="4">
                  <c:v>3.697549206976807e-06</c:v>
                </c:pt>
                <c:pt idx="5">
                  <c:v>0.06316816528696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6.672375150102538e-05</c:v>
                </c:pt>
                <c:pt idx="5">
                  <c:v>0.0131786825537347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319490077683078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6.69992923342294e-05</c:v>
                </c:pt>
                <c:pt idx="5">
                  <c:v>0.01470216507164815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014702165071648154</c:v>
                </c:pt>
                <c:pt idx="1">
                  <c:v>6.69992923342294e-05</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0.0001227519447671679</c:v>
                </c:pt>
                <c:pt idx="4">
                  <c:v>3.697549206976807e-06</c:v>
                </c:pt>
                <c:pt idx="5">
                  <c:v>0.06316816528696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1.0547887805604389e-08</c:v>
                </c:pt>
                <c:pt idx="5">
                  <c:v>0.01916892412722273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1602781843983431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016027818439834314</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3194900776830782</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0.0001227519447671679</c:v>
                </c:pt>
                <c:pt idx="4">
                  <c:v>3.697549206976807e-06</c:v>
                </c:pt>
                <c:pt idx="5">
                  <c:v>0.06316816528696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6.07146712712838e-08</c:v>
                </c:pt>
                <c:pt idx="5">
                  <c:v>0.01479643448858368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1222062701202860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012220627012028602</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0.0001227519447671679</c:v>
                </c:pt>
                <c:pt idx="4">
                  <c:v>3.697549206976807e-06</c:v>
                </c:pt>
                <c:pt idx="5">
                  <c:v>0.06316816528696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6.672375150102538e-05</c:v>
                </c:pt>
                <c:pt idx="5">
                  <c:v>0.0131786825537347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0.00018024549621963216</c:v>
                </c:pt>
                <c:pt idx="5">
                  <c:v>0.015810477693602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0158104776936021</c:v>
                </c:pt>
                <c:pt idx="1">
                  <c:v>0.00018024549621963216</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0.0001227519447671679</c:v>
                </c:pt>
                <c:pt idx="4">
                  <c:v>3.697549206976807e-06</c:v>
                </c:pt>
                <c:pt idx="5">
                  <c:v>0.06316816528696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1.0547887805604389e-08</c:v>
                </c:pt>
                <c:pt idx="5">
                  <c:v>0.01916892412722273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262418341201551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02624183412015517</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0.0001227519447671679</c:v>
                </c:pt>
                <c:pt idx="4">
                  <c:v>3.697549206976807e-06</c:v>
                </c:pt>
                <c:pt idx="5">
                  <c:v>0.0631681652869619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6.07146712712838e-08</c:v>
                </c:pt>
                <c:pt idx="5">
                  <c:v>0.01479643448858368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1863285683688994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018632856836889946</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1.117818841837831e-07</c:v>
                </c:pt>
                <c:pt idx="1">
                  <c:v/>
                </c:pt>
                <c:pt idx="2">
                  <c:v/>
                </c:pt>
                <c:pt idx="3">
                  <c:v/>
                </c:pt>
                <c:pt idx="4">
                  <c:v>0.00803390010976774</c:v>
                </c:pt>
                <c:pt idx="5">
                  <c:v>0.0616201680777648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8.716586900878304e-07</c:v>
                </c:pt>
                <c:pt idx="5">
                  <c:v>0.2016382193496997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296083072977285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2226517664242014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22265176642420145</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0.009703902807720632</c:v>
                </c:pt>
                <c:pt idx="5">
                  <c:v>0.0762741177102542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104568467024730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147426625949237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1474266259492372</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2960830729772855</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0.009703902807720632</c:v>
                </c:pt>
                <c:pt idx="5">
                  <c:v>0.0762741177102542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0874048582137170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0844903887319036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008449038873190364</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0.009703902807720632</c:v>
                </c:pt>
                <c:pt idx="5">
                  <c:v>0.0762741177102542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104568467024730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1090875868009677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0.10908758680096771</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0.009703902807720632</c:v>
                </c:pt>
                <c:pt idx="5">
                  <c:v>0.0762741177102542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1.1968898780611883e-0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7.148203296867518e-0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1.0</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7.148203296867518e-07</c:v>
                </c:pt>
                <c:pt idx="1">
                  <c:v/>
                </c:pt>
                <c:pt idx="2">
                  <c:v/>
                </c:pt>
                <c:pt idx="3">
                  <c:v/>
                </c:pt>
                <c:pt idx="4">
                  <c:v/>
                </c:pt>
                <c:pt idx="5">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0.009703902807720632</c:v>
                </c:pt>
                <c:pt idx="5">
                  <c:v>0.0762741177102542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0874048582137170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0">
                  <c:v/>
                </c:pt>
                <c:pt idx="1">
                  <c:v/>
                </c:pt>
                <c:pt idx="2">
                  <c:v/>
                </c:pt>
                <c:pt idx="3">
                  <c:v/>
                </c:pt>
                <c:pt idx="4">
                  <c:v/>
                </c:pt>
                <c:pt idx="5">
                  <c:v>0.057378786067509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5.xml"/><Relationship Id="rId7" Type="http://schemas.openxmlformats.org/officeDocument/2006/relationships/chart" Target="../charts/chart326.xml"/><Relationship Id="rId8" Type="http://schemas.openxmlformats.org/officeDocument/2006/relationships/chart" Target="../charts/chart327.xml"/><Relationship Id="rId9" Type="http://schemas.openxmlformats.org/officeDocument/2006/relationships/chart" Target="../charts/chart328.xml"/><Relationship Id="rId10" Type="http://schemas.openxmlformats.org/officeDocument/2006/relationships/chart" Target="../charts/chart329.xml"/><Relationship Id="rId11" Type="http://schemas.openxmlformats.org/officeDocument/2006/relationships/chart" Target="../charts/chart330.xml"/><Relationship Id="rId12" Type="http://schemas.openxmlformats.org/officeDocument/2006/relationships/chart" Target="../charts/chart331.xml"/><Relationship Id="rId13" Type="http://schemas.openxmlformats.org/officeDocument/2006/relationships/chart" Target="../charts/chart332.xml"/><Relationship Id="rId14" Type="http://schemas.openxmlformats.org/officeDocument/2006/relationships/chart" Target="../charts/chart333.xml"/><Relationship Id="rId15" Type="http://schemas.openxmlformats.org/officeDocument/2006/relationships/chart" Target="../charts/chart334.xml"/><Relationship Id="rId16" Type="http://schemas.openxmlformats.org/officeDocument/2006/relationships/chart" Target="../charts/chart335.xml"/><Relationship Id="rId17" Type="http://schemas.openxmlformats.org/officeDocument/2006/relationships/chart" Target="../charts/chart33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7.xml"/><Relationship Id="rId7" Type="http://schemas.openxmlformats.org/officeDocument/2006/relationships/chart" Target="../charts/chart338.xml"/><Relationship Id="rId8" Type="http://schemas.openxmlformats.org/officeDocument/2006/relationships/chart" Target="../charts/chart339.xml"/><Relationship Id="rId9" Type="http://schemas.openxmlformats.org/officeDocument/2006/relationships/chart" Target="../charts/chart340.xml"/><Relationship Id="rId10" Type="http://schemas.openxmlformats.org/officeDocument/2006/relationships/chart" Target="../charts/chart341.xml"/><Relationship Id="rId11" Type="http://schemas.openxmlformats.org/officeDocument/2006/relationships/chart" Target="../charts/chart342.xml"/><Relationship Id="rId12" Type="http://schemas.openxmlformats.org/officeDocument/2006/relationships/chart" Target="../charts/chart343.xml"/><Relationship Id="rId13" Type="http://schemas.openxmlformats.org/officeDocument/2006/relationships/chart" Target="../charts/chart344.xml"/><Relationship Id="rId14" Type="http://schemas.openxmlformats.org/officeDocument/2006/relationships/chart" Target="../charts/chart345.xml"/><Relationship Id="rId15" Type="http://schemas.openxmlformats.org/officeDocument/2006/relationships/chart" Target="../charts/chart346.xml"/><Relationship Id="rId16" Type="http://schemas.openxmlformats.org/officeDocument/2006/relationships/chart" Target="../charts/chart347.xml"/><Relationship Id="rId17" Type="http://schemas.openxmlformats.org/officeDocument/2006/relationships/chart" Target="../charts/chart34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Enfant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5765041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Ingredient A Chaud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069357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Ingredient A Chaud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138423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Ingredient A Chaud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890457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Ingredient A Chaud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1348264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Aperitif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702140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Aperitif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272717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alad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5578353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alad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845214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381184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992807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Enfant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432166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928899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343984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60300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469043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381347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296686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333177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445060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197621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583666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Enfant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793127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Enfant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0939888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229961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9561692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806474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916468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01171">
                <a:tc>
                  <a:txBody>
                    <a:bodyPr/>
                    <a:lstStyle/>
                    <a:p>
                      <a:pPr algn="ctr">
                        <a:defRPr sz="700">
                          <a:latin typeface="Nexa Bold (Headings)"/>
                        </a:defRPr>
                      </a:pPr>
                      <a:r>
                        <a:t>12-14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501171">
                <a:tc>
                  <a:txBody>
                    <a:bodyPr/>
                    <a:lstStyle/>
                    <a:p>
                      <a:pPr algn="ctr">
                        <a:defRPr sz="700">
                          <a:latin typeface="Nexa Bold (Headings)"/>
                        </a:defRPr>
                      </a:pPr>
                      <a:r>
                        <a:t>10-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501171">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501171">
                <a:tc>
                  <a:txBody>
                    <a:bodyPr/>
                    <a:lstStyle/>
                    <a:p>
                      <a:pPr algn="ctr">
                        <a:defRPr sz="700">
                          <a:latin typeface="Nexa Bold (Headings)"/>
                        </a:defRPr>
                      </a:pPr>
                      <a:r>
                        <a:t>2-8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501171">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501171">
                <a:tc>
                  <a:txBody>
                    <a:bodyPr/>
                    <a:lstStyle/>
                    <a:p>
                      <a:pPr algn="ctr">
                        <a:defRPr sz="700">
                          <a:latin typeface="Nexa Bold (Headings)"/>
                        </a:defRPr>
                      </a:pPr>
                      <a:r>
                        <a:t>1-2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Pack Count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543716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3335</Words>
  <Application>Microsoft Office PowerPoint</Application>
  <PresentationFormat>On-screen Show (16:9)</PresentationFormat>
  <Paragraphs>1247</Paragraphs>
  <Slides>29</Slides>
  <Notes>29</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40"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37: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